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5" r:id="rId7"/>
    <p:sldId id="756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5"/>
            <p14:sldId id="756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6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337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- Bloomberg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520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305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For </a:t>
            </a:r>
            <a:r>
              <a:rPr lang="en-US" smtClean="0">
                <a:solidFill>
                  <a:schemeClr val="bg1">
                    <a:lumMod val="50000"/>
                  </a:schemeClr>
                </a:solidFill>
              </a:rPr>
              <a:t>Pros an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food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mart people</a:t>
            </a:r>
          </a:p>
        </p:txBody>
      </p:sp>
      <p:sp>
        <p:nvSpPr>
          <p:cNvPr id="13" name="TextBox 32"/>
          <p:cNvSpPr txBox="1"/>
          <p:nvPr/>
        </p:nvSpPr>
        <p:spPr>
          <a:xfrm>
            <a:off x="6220180" y="4300998"/>
            <a:ext cx="4152482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eam lea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cro Manag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784" y="1168435"/>
            <a:ext cx="3654936" cy="29758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7672" y="966490"/>
            <a:ext cx="3157499" cy="321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6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5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  <a:endParaRPr lang="en-US" sz="16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046" y="1161055"/>
            <a:ext cx="4760258" cy="4795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2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ent pa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168435"/>
            <a:ext cx="5100320" cy="512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snack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l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rk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5" y="1168435"/>
            <a:ext cx="4949248" cy="491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171</TotalTime>
  <Words>260</Words>
  <Application>Microsoft Office PowerPoint</Application>
  <PresentationFormat>Widescreen</PresentationFormat>
  <Paragraphs>9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- Bloomberg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793</cp:revision>
  <cp:lastPrinted>2018-10-09T20:26:37Z</cp:lastPrinted>
  <dcterms:created xsi:type="dcterms:W3CDTF">2018-06-06T19:57:16Z</dcterms:created>
  <dcterms:modified xsi:type="dcterms:W3CDTF">2019-11-14T06:4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